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11"/>
  </p:notesMasterIdLst>
  <p:handoutMasterIdLst>
    <p:handoutMasterId r:id="rId12"/>
  </p:handoutMasterIdLst>
  <p:sldIdLst>
    <p:sldId id="380" r:id="rId2"/>
    <p:sldId id="472" r:id="rId3"/>
    <p:sldId id="465" r:id="rId4"/>
    <p:sldId id="466" r:id="rId5"/>
    <p:sldId id="469" r:id="rId6"/>
    <p:sldId id="467" r:id="rId7"/>
    <p:sldId id="468" r:id="rId8"/>
    <p:sldId id="470" r:id="rId9"/>
    <p:sldId id="471" r:id="rId10"/>
  </p:sldIdLst>
  <p:sldSz cx="9144000" cy="6858000" type="screen4x3"/>
  <p:notesSz cx="7099300" cy="10234613"/>
  <p:custDataLst>
    <p:tags r:id="rId13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4B9E4"/>
    <a:srgbClr val="666666"/>
    <a:srgbClr val="368F9A"/>
    <a:srgbClr val="427BAB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0" autoAdjust="0"/>
    <p:restoredTop sz="79517" autoAdjust="0"/>
  </p:normalViewPr>
  <p:slideViewPr>
    <p:cSldViewPr snapToGrid="0" snapToObjects="1" showGuides="1">
      <p:cViewPr varScale="1">
        <p:scale>
          <a:sx n="100" d="100"/>
          <a:sy n="100" d="100"/>
        </p:scale>
        <p:origin x="1932" y="84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07.0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07.01.2019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0C083F59-5A00-4839-BFF4-9098BA7BA6B3}" type="datetime1">
              <a:rPr lang="de-DE" smtClean="0"/>
              <a:t>07.01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1181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41288" indent="-141288"/>
            <a:r>
              <a:rPr lang="en-US" dirty="0">
                <a:effectLst/>
              </a:rPr>
              <a:t>International Organization For Standardization </a:t>
            </a:r>
            <a:r>
              <a:rPr lang="en-US" dirty="0" err="1">
                <a:effectLst/>
              </a:rPr>
              <a:t>Iso</a:t>
            </a:r>
            <a:r>
              <a:rPr lang="en-US" dirty="0">
                <a:effectLst/>
              </a:rPr>
              <a:t>, “ISO/IEC 25010: 2011,” 2011.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  <a:p>
            <a:pPr marL="141288" indent="-141288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D. Rowe, J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Leaney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, and D. Lowe, “Defining Systems Architecture Evolvability - a taxonomy of change,”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Int. Conf. Work. Eng. </a:t>
            </a:r>
            <a:r>
              <a:rPr lang="en-GB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omput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. Syst.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, no. December, pp. 45–52, 1998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0C083F59-5A00-4839-BFF4-9098BA7BA6B3}" type="datetime1">
              <a:rPr lang="de-DE" smtClean="0"/>
              <a:t>07.01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75974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41288" indent="-141288"/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D. Rowe, J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Leaney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, and D. Lowe, “Defining Systems Architecture Evolvability - a taxonomy of change,”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Int. Conf. Work. Eng. </a:t>
            </a:r>
            <a:r>
              <a:rPr lang="en-GB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omput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. Syst.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, no. December, pp. 45–52, 1998.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S. Bode and M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Riebisch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, “Impact evaluation for quality-oriented architectural decisions regarding evolvability,”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Lect. Notes </a:t>
            </a:r>
            <a:r>
              <a:rPr lang="en-GB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omput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. Sci. (including </a:t>
            </a:r>
            <a:r>
              <a:rPr lang="en-GB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Subser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. Lect. Notes </a:t>
            </a:r>
            <a:r>
              <a:rPr lang="en-GB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Artif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. </a:t>
            </a:r>
            <a:r>
              <a:rPr lang="en-GB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Intell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. Lect. Notes Bioinformatics)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, vol. 6285 LNCS, pp. 182–197, 2010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0C083F59-5A00-4839-BFF4-9098BA7BA6B3}" type="datetime1">
              <a:rPr lang="de-DE" smtClean="0"/>
              <a:t>07.01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28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0C083F59-5A00-4839-BFF4-9098BA7BA6B3}" type="datetime1">
              <a:rPr lang="de-DE" smtClean="0"/>
              <a:t>07.01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58057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41288" indent="-141288"/>
            <a:r>
              <a:rPr lang="de-DE" dirty="0">
                <a:effectLst/>
              </a:rPr>
              <a:t>Wagner, S.: Software Product Quality Control. Springer Berlin Heidelberg, Berlin, Heidelberg (2013)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0C083F59-5A00-4839-BFF4-9098BA7BA6B3}" type="datetime1">
              <a:rPr lang="de-DE" smtClean="0"/>
              <a:t>07.01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13197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0C083F59-5A00-4839-BFF4-9098BA7BA6B3}" type="datetime1">
              <a:rPr lang="de-DE" smtClean="0"/>
              <a:t>07.01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3820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0C083F59-5A00-4839-BFF4-9098BA7BA6B3}" type="datetime1">
              <a:rPr lang="de-DE" smtClean="0"/>
              <a:t>07.01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3251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0C083F59-5A00-4839-BFF4-9098BA7BA6B3}" type="datetime1">
              <a:rPr lang="de-DE" smtClean="0"/>
              <a:t>07.01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9528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1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07.01.201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07.0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7"/>
          <p:cNvSpPr txBox="1">
            <a:spLocks/>
          </p:cNvSpPr>
          <p:nvPr/>
        </p:nvSpPr>
        <p:spPr>
          <a:xfrm>
            <a:off x="300875" y="1743456"/>
            <a:ext cx="8763000" cy="33771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C000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</a:lstStyle>
          <a:p>
            <a:pPr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</a:pPr>
            <a:r>
              <a:rPr lang="en-US" sz="4000" dirty="0">
                <a:solidFill>
                  <a:schemeClr val="tx1"/>
                </a:solidFill>
              </a:rPr>
              <a:t>Evolvability Assurance of Microservices</a:t>
            </a:r>
          </a:p>
          <a:p>
            <a:pPr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</a:pPr>
            <a:br>
              <a:rPr lang="en-US" sz="4000" dirty="0">
                <a:solidFill>
                  <a:schemeClr val="tx1"/>
                </a:solidFill>
              </a:rPr>
            </a:br>
            <a:r>
              <a:rPr lang="en-US" sz="3200" b="1" dirty="0">
                <a:solidFill>
                  <a:schemeClr val="tx1"/>
                </a:solidFill>
              </a:rPr>
              <a:t>Interview Artifacts</a:t>
            </a:r>
          </a:p>
          <a:p>
            <a:pPr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</a:pPr>
            <a:endParaRPr lang="en-US" sz="3200" b="1" dirty="0">
              <a:solidFill>
                <a:schemeClr val="tx1"/>
              </a:solidFill>
            </a:endParaRPr>
          </a:p>
          <a:p>
            <a:pPr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</a:pP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8" name="Rectangle 38"/>
          <p:cNvSpPr txBox="1">
            <a:spLocks/>
          </p:cNvSpPr>
          <p:nvPr/>
        </p:nvSpPr>
        <p:spPr>
          <a:xfrm>
            <a:off x="304800" y="5412320"/>
            <a:ext cx="8496300" cy="332399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0" indent="0" defTabSz="68580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>
                <a:latin typeface="Franklin Gothic Book" panose="020B0503020102020204" pitchFamily="34" charset="0"/>
              </a:defRPr>
            </a:lvl2pPr>
            <a:lvl3pPr marL="685800" indent="0" algn="ctr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>
                <a:latin typeface="Franklin Gothic Book" panose="020B0503020102020204" pitchFamily="34" charset="0"/>
              </a:defRPr>
            </a:lvl3pPr>
            <a:lvl4pPr marL="1028700" indent="0" algn="ctr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>
                <a:latin typeface="Franklin Gothic Book" panose="020B0503020102020204" pitchFamily="34" charset="0"/>
              </a:defRPr>
            </a:lvl4pPr>
            <a:lvl5pPr marL="1371600" indent="0" algn="ctr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>
                <a:latin typeface="Franklin Gothic Book" panose="020B0503020102020204" pitchFamily="34" charset="0"/>
              </a:defRPr>
            </a:lvl5pPr>
            <a:lvl6pPr marL="1714500" indent="0" algn="ctr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>
                <a:latin typeface="+mn-lt"/>
              </a:defRPr>
            </a:lvl6pPr>
            <a:lvl7pPr marL="2057400" indent="0" algn="ctr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>
                <a:latin typeface="+mn-lt"/>
              </a:defRPr>
            </a:lvl7pPr>
            <a:lvl8pPr marL="2400300" indent="0" algn="ctr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>
                <a:latin typeface="+mn-lt"/>
              </a:defRPr>
            </a:lvl8pPr>
            <a:lvl9pPr marL="2743200" indent="0" algn="ctr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>
                <a:latin typeface="+mn-lt"/>
              </a:defRPr>
            </a:lvl9pPr>
          </a:lstStyle>
          <a:p>
            <a:r>
              <a:rPr lang="en-US" dirty="0"/>
              <a:t>Justus Bogner, Jonas Fritzsch, </a:t>
            </a:r>
            <a:r>
              <a:rPr lang="de-DE" dirty="0"/>
              <a:t>10/2018</a:t>
            </a:r>
            <a:endParaRPr lang="en-US" dirty="0"/>
          </a:p>
        </p:txBody>
      </p:sp>
      <p:pic>
        <p:nvPicPr>
          <p:cNvPr id="304130" name="Picture 2" descr="http://www.inf.reutlingen-university.de/typo3conf/ext/12bis3_config/images/fk-inf/logo-fakultaet-informati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891" y="972015"/>
            <a:ext cx="1379310" cy="47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Image result for stuttgart university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62" t="3306" r="26484" b="4516"/>
          <a:stretch/>
        </p:blipFill>
        <p:spPr bwMode="auto">
          <a:xfrm>
            <a:off x="7669845" y="242627"/>
            <a:ext cx="1131255" cy="1172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reutlingen university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891" y="240756"/>
            <a:ext cx="2432406" cy="588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49" y="234030"/>
            <a:ext cx="8246409" cy="799117"/>
          </a:xfrm>
        </p:spPr>
        <p:txBody>
          <a:bodyPr>
            <a:noAutofit/>
          </a:bodyPr>
          <a:lstStyle/>
          <a:p>
            <a:r>
              <a:rPr lang="en-US" sz="3400" dirty="0"/>
              <a:t>ISO 25010 Software Product Qualit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7" name="Grafik 7" descr="Ein Bild, das Screenshot enthält.&#10;&#10;Mit hoher Zuverlässigkeit generierte Beschreibung">
            <a:extLst>
              <a:ext uri="{FF2B5EF4-FFF2-40B4-BE49-F238E27FC236}">
                <a16:creationId xmlns:a16="http://schemas.microsoft.com/office/drawing/2014/main" id="{AEA6C50A-F1E3-4B46-9744-79800AC46B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41309" y="1514801"/>
            <a:ext cx="8875757" cy="3707777"/>
          </a:xfrm>
          <a:prstGeom prst="rect">
            <a:avLst/>
          </a:prstGeom>
        </p:spPr>
      </p:pic>
      <p:pic>
        <p:nvPicPr>
          <p:cNvPr id="2990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740" y="2580323"/>
            <a:ext cx="2000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8225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234030"/>
            <a:ext cx="7886700" cy="799117"/>
          </a:xfrm>
        </p:spPr>
        <p:txBody>
          <a:bodyPr>
            <a:normAutofit/>
          </a:bodyPr>
          <a:lstStyle/>
          <a:p>
            <a:r>
              <a:rPr lang="en-US" sz="3600" dirty="0"/>
              <a:t>Definition: Maintainabilit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628650" y="1206274"/>
            <a:ext cx="8011258" cy="1158966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en-US" sz="2600" dirty="0"/>
              <a:t>The degree of </a:t>
            </a:r>
            <a:r>
              <a:rPr lang="en-US" sz="2600" b="1" u="sng" dirty="0"/>
              <a:t>effectiveness</a:t>
            </a:r>
            <a:r>
              <a:rPr lang="en-US" sz="2600" dirty="0"/>
              <a:t> and </a:t>
            </a:r>
            <a:r>
              <a:rPr lang="en-US" sz="2600" b="1" u="sng" dirty="0"/>
              <a:t>efficiency</a:t>
            </a:r>
            <a:r>
              <a:rPr lang="en-US" sz="2600" dirty="0"/>
              <a:t> with which a software system can be </a:t>
            </a:r>
            <a:r>
              <a:rPr lang="en-US" sz="2600" b="1" u="sng" dirty="0"/>
              <a:t>modified</a:t>
            </a:r>
            <a:r>
              <a:rPr lang="en-US" sz="2600" dirty="0"/>
              <a:t>.</a:t>
            </a:r>
          </a:p>
        </p:txBody>
      </p:sp>
      <p:sp>
        <p:nvSpPr>
          <p:cNvPr id="13" name="Content Placeholder 10"/>
          <p:cNvSpPr txBox="1">
            <a:spLocks/>
          </p:cNvSpPr>
          <p:nvPr/>
        </p:nvSpPr>
        <p:spPr>
          <a:xfrm>
            <a:off x="7046259" y="5464009"/>
            <a:ext cx="2517289" cy="11589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Tx/>
              <a:buSzTx/>
              <a:buNone/>
            </a:pPr>
            <a:r>
              <a:rPr lang="en-US" sz="1800" dirty="0"/>
              <a:t>Based on [ISO/IEC 25010, 2011] and [Rowe, 1998]</a:t>
            </a:r>
          </a:p>
          <a:p>
            <a:pPr marL="0" indent="0" fontAlgn="auto">
              <a:spcAft>
                <a:spcPts val="0"/>
              </a:spcAft>
              <a:buClrTx/>
              <a:buSzTx/>
              <a:buNone/>
            </a:pPr>
            <a:endParaRPr lang="de-DE" sz="180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50" y="2232647"/>
            <a:ext cx="5039101" cy="378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8804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234030"/>
            <a:ext cx="7886700" cy="799117"/>
          </a:xfrm>
        </p:spPr>
        <p:txBody>
          <a:bodyPr>
            <a:normAutofit/>
          </a:bodyPr>
          <a:lstStyle/>
          <a:p>
            <a:r>
              <a:rPr lang="en-US" sz="3600" dirty="0"/>
              <a:t>Definition: Evolvabilit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628650" y="1206274"/>
            <a:ext cx="8011258" cy="1158966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en-US" sz="2600" dirty="0"/>
              <a:t>The ability of a software system to </a:t>
            </a:r>
            <a:r>
              <a:rPr lang="en-US" sz="2600" b="1" u="sng" dirty="0"/>
              <a:t>efficiently</a:t>
            </a:r>
            <a:r>
              <a:rPr lang="en-US" sz="2600" dirty="0"/>
              <a:t> accommodate changes and extensions to its functional and cross-functional requirements.</a:t>
            </a:r>
          </a:p>
        </p:txBody>
      </p:sp>
      <p:sp>
        <p:nvSpPr>
          <p:cNvPr id="13" name="Content Placeholder 10"/>
          <p:cNvSpPr txBox="1">
            <a:spLocks/>
          </p:cNvSpPr>
          <p:nvPr/>
        </p:nvSpPr>
        <p:spPr>
          <a:xfrm>
            <a:off x="6702013" y="5645696"/>
            <a:ext cx="2743200" cy="11589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Tx/>
              <a:buSzTx/>
              <a:buNone/>
            </a:pPr>
            <a:r>
              <a:rPr lang="en-US" sz="1800" dirty="0"/>
              <a:t>Based on [Rowe, 1998] and [Bode, 2010]</a:t>
            </a:r>
          </a:p>
          <a:p>
            <a:pPr marL="0" indent="0" fontAlgn="auto">
              <a:spcAft>
                <a:spcPts val="0"/>
              </a:spcAft>
              <a:buClrTx/>
              <a:buSzTx/>
              <a:buNone/>
            </a:pPr>
            <a:endParaRPr lang="de-DE" sz="18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586" y="2285227"/>
            <a:ext cx="5120536" cy="37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123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5010" y="234030"/>
            <a:ext cx="8515351" cy="799117"/>
          </a:xfrm>
        </p:spPr>
        <p:txBody>
          <a:bodyPr>
            <a:noAutofit/>
          </a:bodyPr>
          <a:lstStyle/>
          <a:p>
            <a:r>
              <a:rPr lang="en-US" sz="3400" dirty="0"/>
              <a:t>Examples: Symptoms of Technical Deb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628650" y="1206274"/>
            <a:ext cx="8011258" cy="4764220"/>
          </a:xfrm>
        </p:spPr>
        <p:txBody>
          <a:bodyPr>
            <a:normAutofit fontScale="92500" lnSpcReduction="10000"/>
          </a:bodyPr>
          <a:lstStyle/>
          <a:p>
            <a:pPr algn="just"/>
            <a:r>
              <a:rPr lang="en-US" sz="2600" dirty="0"/>
              <a:t>Low release frequency</a:t>
            </a:r>
          </a:p>
          <a:p>
            <a:pPr algn="just"/>
            <a:r>
              <a:rPr lang="en-US" sz="2600" dirty="0"/>
              <a:t>High number of defects with new releases</a:t>
            </a:r>
          </a:p>
          <a:p>
            <a:pPr algn="just"/>
            <a:r>
              <a:rPr lang="en-US" sz="2600" dirty="0"/>
              <a:t>Reported issues are open for a long time</a:t>
            </a:r>
          </a:p>
          <a:p>
            <a:pPr algn="just"/>
            <a:r>
              <a:rPr lang="en-US" sz="2600" dirty="0"/>
              <a:t>Missing or outdated documentation</a:t>
            </a:r>
          </a:p>
          <a:p>
            <a:pPr algn="just"/>
            <a:r>
              <a:rPr lang="en-US" sz="2600" dirty="0"/>
              <a:t>Outdated libraries or middleware components</a:t>
            </a:r>
          </a:p>
          <a:p>
            <a:pPr algn="just"/>
            <a:r>
              <a:rPr lang="en-US" sz="2600" dirty="0"/>
              <a:t>More time needed to add new functionality</a:t>
            </a:r>
          </a:p>
          <a:p>
            <a:pPr algn="just"/>
            <a:r>
              <a:rPr lang="en-US" sz="2600" dirty="0"/>
              <a:t>Inadequate testing</a:t>
            </a:r>
          </a:p>
          <a:p>
            <a:pPr algn="just"/>
            <a:r>
              <a:rPr lang="en-US" sz="2600" dirty="0"/>
              <a:t>Lots of duplicate code</a:t>
            </a:r>
          </a:p>
          <a:p>
            <a:pPr algn="just"/>
            <a:r>
              <a:rPr lang="en-US" sz="2600" dirty="0"/>
              <a:t>Slow/manual deployment process</a:t>
            </a:r>
          </a:p>
          <a:p>
            <a:pPr algn="just"/>
            <a:r>
              <a:rPr lang="en-US" sz="2600" dirty="0"/>
              <a:t>Architectural erosion or complexity</a:t>
            </a:r>
          </a:p>
          <a:p>
            <a:pPr algn="just"/>
            <a:r>
              <a:rPr lang="en-US" sz="2600" dirty="0"/>
              <a:t>Many inter-module/inter-component dependencies</a:t>
            </a:r>
          </a:p>
          <a:p>
            <a:pPr algn="just"/>
            <a:r>
              <a:rPr lang="en-US" sz="2600" dirty="0"/>
              <a:t>Very large/complex components or modules</a:t>
            </a:r>
          </a:p>
        </p:txBody>
      </p:sp>
    </p:spTree>
    <p:extLst>
      <p:ext uri="{BB962C8B-B14F-4D97-AF65-F5344CB8AC3E}">
        <p14:creationId xmlns:p14="http://schemas.microsoft.com/office/powerpoint/2010/main" val="36468031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49" y="234030"/>
            <a:ext cx="8246409" cy="799117"/>
          </a:xfrm>
        </p:spPr>
        <p:txBody>
          <a:bodyPr>
            <a:noAutofit/>
          </a:bodyPr>
          <a:lstStyle/>
          <a:p>
            <a:r>
              <a:rPr lang="en-US" sz="3400" dirty="0"/>
              <a:t>Definition: Evolvability Assurance (EA)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628650" y="1206273"/>
            <a:ext cx="8011258" cy="4613613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en-US" sz="2600" dirty="0"/>
              <a:t>The set of activities that provides sufficient confidence that a software system can be sustainably extended and evolved.</a:t>
            </a:r>
          </a:p>
          <a:p>
            <a:pPr marL="0" indent="0" algn="just">
              <a:buNone/>
            </a:pPr>
            <a:endParaRPr lang="en-US" sz="2600" dirty="0"/>
          </a:p>
          <a:p>
            <a:pPr marL="0" indent="0" algn="just">
              <a:buNone/>
            </a:pPr>
            <a:r>
              <a:rPr lang="en-US" sz="2600" dirty="0"/>
              <a:t>Activities can either be performed for identification (</a:t>
            </a:r>
            <a:r>
              <a:rPr lang="en-US" sz="2600" i="1" dirty="0"/>
              <a:t>analytical</a:t>
            </a:r>
            <a:r>
              <a:rPr lang="en-US" sz="2600" dirty="0"/>
              <a:t> EA) or for remediation (</a:t>
            </a:r>
            <a:r>
              <a:rPr lang="en-US" sz="2600" i="1" dirty="0"/>
              <a:t>constructive</a:t>
            </a:r>
            <a:r>
              <a:rPr lang="en-US" sz="2600" dirty="0"/>
              <a:t> EA).</a:t>
            </a:r>
          </a:p>
          <a:p>
            <a:pPr marL="0" indent="0" algn="just">
              <a:buNone/>
            </a:pPr>
            <a:endParaRPr lang="en-US" sz="2600" dirty="0"/>
          </a:p>
          <a:p>
            <a:pPr marL="0" indent="0" algn="just">
              <a:buNone/>
            </a:pPr>
            <a:endParaRPr lang="en-US" sz="2600" dirty="0"/>
          </a:p>
          <a:p>
            <a:pPr marL="0" indent="0" algn="just">
              <a:buNone/>
            </a:pPr>
            <a:endParaRPr lang="en-US" sz="2600" dirty="0"/>
          </a:p>
          <a:p>
            <a:pPr marL="0" indent="0" algn="just">
              <a:buNone/>
            </a:pPr>
            <a:r>
              <a:rPr lang="en-US" sz="2600" dirty="0"/>
              <a:t>EA includes for example processes, techniques, standardization, management of “technical debt”, and the usage of tools, metrics, principles, or guidelines.</a:t>
            </a:r>
          </a:p>
        </p:txBody>
      </p:sp>
      <p:sp>
        <p:nvSpPr>
          <p:cNvPr id="13" name="Content Placeholder 10"/>
          <p:cNvSpPr txBox="1">
            <a:spLocks/>
          </p:cNvSpPr>
          <p:nvPr/>
        </p:nvSpPr>
        <p:spPr>
          <a:xfrm>
            <a:off x="6368527" y="3340415"/>
            <a:ext cx="2775473" cy="3723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Tx/>
              <a:buSzTx/>
              <a:buNone/>
            </a:pPr>
            <a:r>
              <a:rPr lang="en-US" sz="1800" dirty="0"/>
              <a:t>Based on [Wagner, 2013]</a:t>
            </a:r>
          </a:p>
          <a:p>
            <a:pPr marL="0" indent="0" fontAlgn="auto">
              <a:spcAft>
                <a:spcPts val="0"/>
              </a:spcAft>
              <a:buClrTx/>
              <a:buSzTx/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321766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234030"/>
            <a:ext cx="7886700" cy="799117"/>
          </a:xfrm>
        </p:spPr>
        <p:txBody>
          <a:bodyPr>
            <a:normAutofit/>
          </a:bodyPr>
          <a:lstStyle/>
          <a:p>
            <a:r>
              <a:rPr lang="en-US" sz="3600" dirty="0"/>
              <a:t>Assurance Maturity Level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24" name="Group 23"/>
          <p:cNvGrpSpPr/>
          <p:nvPr/>
        </p:nvGrpSpPr>
        <p:grpSpPr>
          <a:xfrm>
            <a:off x="318023" y="1348456"/>
            <a:ext cx="8197327" cy="4501679"/>
            <a:chOff x="1524000" y="1397601"/>
            <a:chExt cx="6096000" cy="4062797"/>
          </a:xfrm>
        </p:grpSpPr>
        <p:sp>
          <p:nvSpPr>
            <p:cNvPr id="25" name="Freeform 24"/>
            <p:cNvSpPr/>
            <p:nvPr/>
          </p:nvSpPr>
          <p:spPr>
            <a:xfrm>
              <a:off x="1524000" y="1397601"/>
              <a:ext cx="788988" cy="1127125"/>
            </a:xfrm>
            <a:custGeom>
              <a:avLst/>
              <a:gdLst>
                <a:gd name="connsiteX0" fmla="*/ 0 w 1127124"/>
                <a:gd name="connsiteY0" fmla="*/ 0 h 788987"/>
                <a:gd name="connsiteX1" fmla="*/ 732631 w 1127124"/>
                <a:gd name="connsiteY1" fmla="*/ 0 h 788987"/>
                <a:gd name="connsiteX2" fmla="*/ 1127124 w 1127124"/>
                <a:gd name="connsiteY2" fmla="*/ 394494 h 788987"/>
                <a:gd name="connsiteX3" fmla="*/ 732631 w 1127124"/>
                <a:gd name="connsiteY3" fmla="*/ 788987 h 788987"/>
                <a:gd name="connsiteX4" fmla="*/ 0 w 1127124"/>
                <a:gd name="connsiteY4" fmla="*/ 788987 h 788987"/>
                <a:gd name="connsiteX5" fmla="*/ 394494 w 1127124"/>
                <a:gd name="connsiteY5" fmla="*/ 394494 h 788987"/>
                <a:gd name="connsiteX6" fmla="*/ 0 w 1127124"/>
                <a:gd name="connsiteY6" fmla="*/ 0 h 788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7124" h="788987">
                  <a:moveTo>
                    <a:pt x="1127123" y="0"/>
                  </a:moveTo>
                  <a:lnTo>
                    <a:pt x="1127123" y="512842"/>
                  </a:lnTo>
                  <a:lnTo>
                    <a:pt x="563561" y="788987"/>
                  </a:lnTo>
                  <a:lnTo>
                    <a:pt x="1" y="512842"/>
                  </a:lnTo>
                  <a:lnTo>
                    <a:pt x="1" y="0"/>
                  </a:lnTo>
                  <a:lnTo>
                    <a:pt x="563561" y="276146"/>
                  </a:lnTo>
                  <a:lnTo>
                    <a:pt x="1127123" y="0"/>
                  </a:ln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971" tIns="408465" rIns="13970" bIns="408463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0</a:t>
              </a:r>
              <a:endParaRPr lang="de-DE" sz="2400" kern="1200" dirty="0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2312987" y="1397601"/>
              <a:ext cx="5307013" cy="732632"/>
            </a:xfrm>
            <a:custGeom>
              <a:avLst/>
              <a:gdLst>
                <a:gd name="connsiteX0" fmla="*/ 122108 w 732631"/>
                <a:gd name="connsiteY0" fmla="*/ 0 h 5307012"/>
                <a:gd name="connsiteX1" fmla="*/ 610523 w 732631"/>
                <a:gd name="connsiteY1" fmla="*/ 0 h 5307012"/>
                <a:gd name="connsiteX2" fmla="*/ 732631 w 732631"/>
                <a:gd name="connsiteY2" fmla="*/ 122108 h 5307012"/>
                <a:gd name="connsiteX3" fmla="*/ 732631 w 732631"/>
                <a:gd name="connsiteY3" fmla="*/ 5307012 h 5307012"/>
                <a:gd name="connsiteX4" fmla="*/ 732631 w 732631"/>
                <a:gd name="connsiteY4" fmla="*/ 5307012 h 5307012"/>
                <a:gd name="connsiteX5" fmla="*/ 0 w 732631"/>
                <a:gd name="connsiteY5" fmla="*/ 5307012 h 5307012"/>
                <a:gd name="connsiteX6" fmla="*/ 0 w 732631"/>
                <a:gd name="connsiteY6" fmla="*/ 5307012 h 5307012"/>
                <a:gd name="connsiteX7" fmla="*/ 0 w 732631"/>
                <a:gd name="connsiteY7" fmla="*/ 122108 h 5307012"/>
                <a:gd name="connsiteX8" fmla="*/ 122108 w 732631"/>
                <a:gd name="connsiteY8" fmla="*/ 0 h 5307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2631" h="5307012">
                  <a:moveTo>
                    <a:pt x="732631" y="884525"/>
                  </a:moveTo>
                  <a:lnTo>
                    <a:pt x="732631" y="4422487"/>
                  </a:lnTo>
                  <a:cubicBezTo>
                    <a:pt x="732631" y="4910992"/>
                    <a:pt x="725084" y="5307008"/>
                    <a:pt x="715774" y="5307008"/>
                  </a:cubicBezTo>
                  <a:lnTo>
                    <a:pt x="0" y="5307008"/>
                  </a:lnTo>
                  <a:lnTo>
                    <a:pt x="0" y="5307008"/>
                  </a:lnTo>
                  <a:lnTo>
                    <a:pt x="0" y="4"/>
                  </a:lnTo>
                  <a:lnTo>
                    <a:pt x="0" y="4"/>
                  </a:lnTo>
                  <a:lnTo>
                    <a:pt x="715774" y="4"/>
                  </a:lnTo>
                  <a:cubicBezTo>
                    <a:pt x="725084" y="4"/>
                    <a:pt x="732631" y="396020"/>
                    <a:pt x="732631" y="884525"/>
                  </a:cubicBez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4913" tIns="52274" rIns="52274" bIns="52275" numCol="1" spcCol="1270" anchor="ctr" anchorCtr="0">
              <a:noAutofit/>
            </a:bodyPr>
            <a:lstStyle/>
            <a:p>
              <a:pPr marL="0" lvl="1" algn="l" defTabSz="11557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400" kern="1200" dirty="0"/>
                <a:t>No conscious addressing of evolvability</a:t>
              </a:r>
              <a:endParaRPr lang="de-DE" sz="2400" kern="1200" dirty="0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1524000" y="2376158"/>
              <a:ext cx="788988" cy="1127125"/>
            </a:xfrm>
            <a:custGeom>
              <a:avLst/>
              <a:gdLst>
                <a:gd name="connsiteX0" fmla="*/ 0 w 1127124"/>
                <a:gd name="connsiteY0" fmla="*/ 0 h 788987"/>
                <a:gd name="connsiteX1" fmla="*/ 732631 w 1127124"/>
                <a:gd name="connsiteY1" fmla="*/ 0 h 788987"/>
                <a:gd name="connsiteX2" fmla="*/ 1127124 w 1127124"/>
                <a:gd name="connsiteY2" fmla="*/ 394494 h 788987"/>
                <a:gd name="connsiteX3" fmla="*/ 732631 w 1127124"/>
                <a:gd name="connsiteY3" fmla="*/ 788987 h 788987"/>
                <a:gd name="connsiteX4" fmla="*/ 0 w 1127124"/>
                <a:gd name="connsiteY4" fmla="*/ 788987 h 788987"/>
                <a:gd name="connsiteX5" fmla="*/ 394494 w 1127124"/>
                <a:gd name="connsiteY5" fmla="*/ 394494 h 788987"/>
                <a:gd name="connsiteX6" fmla="*/ 0 w 1127124"/>
                <a:gd name="connsiteY6" fmla="*/ 0 h 788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7124" h="788987">
                  <a:moveTo>
                    <a:pt x="1127123" y="0"/>
                  </a:moveTo>
                  <a:lnTo>
                    <a:pt x="1127123" y="512842"/>
                  </a:lnTo>
                  <a:lnTo>
                    <a:pt x="563561" y="788987"/>
                  </a:lnTo>
                  <a:lnTo>
                    <a:pt x="1" y="512842"/>
                  </a:lnTo>
                  <a:lnTo>
                    <a:pt x="1" y="0"/>
                  </a:lnTo>
                  <a:lnTo>
                    <a:pt x="563561" y="276146"/>
                  </a:lnTo>
                  <a:lnTo>
                    <a:pt x="1127123" y="0"/>
                  </a:ln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971" tIns="408465" rIns="13970" bIns="408463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1</a:t>
              </a:r>
              <a:endParaRPr lang="de-DE" sz="2400" kern="1200" dirty="0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2312987" y="2376159"/>
              <a:ext cx="5307013" cy="732632"/>
            </a:xfrm>
            <a:custGeom>
              <a:avLst/>
              <a:gdLst>
                <a:gd name="connsiteX0" fmla="*/ 122108 w 732631"/>
                <a:gd name="connsiteY0" fmla="*/ 0 h 5307012"/>
                <a:gd name="connsiteX1" fmla="*/ 610523 w 732631"/>
                <a:gd name="connsiteY1" fmla="*/ 0 h 5307012"/>
                <a:gd name="connsiteX2" fmla="*/ 732631 w 732631"/>
                <a:gd name="connsiteY2" fmla="*/ 122108 h 5307012"/>
                <a:gd name="connsiteX3" fmla="*/ 732631 w 732631"/>
                <a:gd name="connsiteY3" fmla="*/ 5307012 h 5307012"/>
                <a:gd name="connsiteX4" fmla="*/ 732631 w 732631"/>
                <a:gd name="connsiteY4" fmla="*/ 5307012 h 5307012"/>
                <a:gd name="connsiteX5" fmla="*/ 0 w 732631"/>
                <a:gd name="connsiteY5" fmla="*/ 5307012 h 5307012"/>
                <a:gd name="connsiteX6" fmla="*/ 0 w 732631"/>
                <a:gd name="connsiteY6" fmla="*/ 5307012 h 5307012"/>
                <a:gd name="connsiteX7" fmla="*/ 0 w 732631"/>
                <a:gd name="connsiteY7" fmla="*/ 122108 h 5307012"/>
                <a:gd name="connsiteX8" fmla="*/ 122108 w 732631"/>
                <a:gd name="connsiteY8" fmla="*/ 0 h 5307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2631" h="5307012">
                  <a:moveTo>
                    <a:pt x="732631" y="884525"/>
                  </a:moveTo>
                  <a:lnTo>
                    <a:pt x="732631" y="4422487"/>
                  </a:lnTo>
                  <a:cubicBezTo>
                    <a:pt x="732631" y="4910992"/>
                    <a:pt x="725084" y="5307008"/>
                    <a:pt x="715774" y="5307008"/>
                  </a:cubicBezTo>
                  <a:lnTo>
                    <a:pt x="0" y="5307008"/>
                  </a:lnTo>
                  <a:lnTo>
                    <a:pt x="0" y="5307008"/>
                  </a:lnTo>
                  <a:lnTo>
                    <a:pt x="0" y="4"/>
                  </a:lnTo>
                  <a:lnTo>
                    <a:pt x="0" y="4"/>
                  </a:lnTo>
                  <a:lnTo>
                    <a:pt x="715774" y="4"/>
                  </a:lnTo>
                  <a:cubicBezTo>
                    <a:pt x="725084" y="4"/>
                    <a:pt x="732631" y="396020"/>
                    <a:pt x="732631" y="884525"/>
                  </a:cubicBez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4913" tIns="52274" rIns="52274" bIns="52275" numCol="1" spcCol="1270" anchor="ctr" anchorCtr="0">
              <a:noAutofit/>
            </a:bodyPr>
            <a:lstStyle/>
            <a:p>
              <a:pPr marL="0" lvl="1" defTabSz="11557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400" dirty="0"/>
                <a:t>Implicit and basic (e.g. occasional refactoring, some guidelines and standards without enforcement, etc.)</a:t>
              </a:r>
            </a:p>
          </p:txBody>
        </p:sp>
        <p:sp>
          <p:nvSpPr>
            <p:cNvPr id="29" name="Freeform 28"/>
            <p:cNvSpPr/>
            <p:nvPr/>
          </p:nvSpPr>
          <p:spPr>
            <a:xfrm>
              <a:off x="1524000" y="3354715"/>
              <a:ext cx="788988" cy="1127125"/>
            </a:xfrm>
            <a:custGeom>
              <a:avLst/>
              <a:gdLst>
                <a:gd name="connsiteX0" fmla="*/ 0 w 1127124"/>
                <a:gd name="connsiteY0" fmla="*/ 0 h 788987"/>
                <a:gd name="connsiteX1" fmla="*/ 732631 w 1127124"/>
                <a:gd name="connsiteY1" fmla="*/ 0 h 788987"/>
                <a:gd name="connsiteX2" fmla="*/ 1127124 w 1127124"/>
                <a:gd name="connsiteY2" fmla="*/ 394494 h 788987"/>
                <a:gd name="connsiteX3" fmla="*/ 732631 w 1127124"/>
                <a:gd name="connsiteY3" fmla="*/ 788987 h 788987"/>
                <a:gd name="connsiteX4" fmla="*/ 0 w 1127124"/>
                <a:gd name="connsiteY4" fmla="*/ 788987 h 788987"/>
                <a:gd name="connsiteX5" fmla="*/ 394494 w 1127124"/>
                <a:gd name="connsiteY5" fmla="*/ 394494 h 788987"/>
                <a:gd name="connsiteX6" fmla="*/ 0 w 1127124"/>
                <a:gd name="connsiteY6" fmla="*/ 0 h 788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7124" h="788987">
                  <a:moveTo>
                    <a:pt x="1127123" y="0"/>
                  </a:moveTo>
                  <a:lnTo>
                    <a:pt x="1127123" y="512842"/>
                  </a:lnTo>
                  <a:lnTo>
                    <a:pt x="563561" y="788987"/>
                  </a:lnTo>
                  <a:lnTo>
                    <a:pt x="1" y="512842"/>
                  </a:lnTo>
                  <a:lnTo>
                    <a:pt x="1" y="0"/>
                  </a:lnTo>
                  <a:lnTo>
                    <a:pt x="563561" y="276146"/>
                  </a:lnTo>
                  <a:lnTo>
                    <a:pt x="1127123" y="0"/>
                  </a:ln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971" tIns="408465" rIns="13970" bIns="408463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2</a:t>
              </a:r>
              <a:endParaRPr lang="de-DE" sz="2400" kern="1200" dirty="0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2312987" y="3354716"/>
              <a:ext cx="5307013" cy="732632"/>
            </a:xfrm>
            <a:custGeom>
              <a:avLst/>
              <a:gdLst>
                <a:gd name="connsiteX0" fmla="*/ 122108 w 732631"/>
                <a:gd name="connsiteY0" fmla="*/ 0 h 5307012"/>
                <a:gd name="connsiteX1" fmla="*/ 610523 w 732631"/>
                <a:gd name="connsiteY1" fmla="*/ 0 h 5307012"/>
                <a:gd name="connsiteX2" fmla="*/ 732631 w 732631"/>
                <a:gd name="connsiteY2" fmla="*/ 122108 h 5307012"/>
                <a:gd name="connsiteX3" fmla="*/ 732631 w 732631"/>
                <a:gd name="connsiteY3" fmla="*/ 5307012 h 5307012"/>
                <a:gd name="connsiteX4" fmla="*/ 732631 w 732631"/>
                <a:gd name="connsiteY4" fmla="*/ 5307012 h 5307012"/>
                <a:gd name="connsiteX5" fmla="*/ 0 w 732631"/>
                <a:gd name="connsiteY5" fmla="*/ 5307012 h 5307012"/>
                <a:gd name="connsiteX6" fmla="*/ 0 w 732631"/>
                <a:gd name="connsiteY6" fmla="*/ 5307012 h 5307012"/>
                <a:gd name="connsiteX7" fmla="*/ 0 w 732631"/>
                <a:gd name="connsiteY7" fmla="*/ 122108 h 5307012"/>
                <a:gd name="connsiteX8" fmla="*/ 122108 w 732631"/>
                <a:gd name="connsiteY8" fmla="*/ 0 h 5307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2631" h="5307012">
                  <a:moveTo>
                    <a:pt x="732631" y="884525"/>
                  </a:moveTo>
                  <a:lnTo>
                    <a:pt x="732631" y="4422487"/>
                  </a:lnTo>
                  <a:cubicBezTo>
                    <a:pt x="732631" y="4910992"/>
                    <a:pt x="725084" y="5307008"/>
                    <a:pt x="715774" y="5307008"/>
                  </a:cubicBezTo>
                  <a:lnTo>
                    <a:pt x="0" y="5307008"/>
                  </a:lnTo>
                  <a:lnTo>
                    <a:pt x="0" y="5307008"/>
                  </a:lnTo>
                  <a:lnTo>
                    <a:pt x="0" y="4"/>
                  </a:lnTo>
                  <a:lnTo>
                    <a:pt x="0" y="4"/>
                  </a:lnTo>
                  <a:lnTo>
                    <a:pt x="715774" y="4"/>
                  </a:lnTo>
                  <a:cubicBezTo>
                    <a:pt x="725084" y="4"/>
                    <a:pt x="732631" y="396020"/>
                    <a:pt x="732631" y="884525"/>
                  </a:cubicBez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4913" tIns="52274" rIns="52274" bIns="52275" numCol="1" spcCol="1270" anchor="ctr" anchorCtr="0">
              <a:noAutofit/>
            </a:bodyPr>
            <a:lstStyle/>
            <a:p>
              <a:pPr marL="0" lvl="1" defTabSz="11557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400" dirty="0"/>
                <a:t>Explicit, but non-structured (e.g. tool support, metrics, quality model, elaborate guidelines and standards, etc.)</a:t>
              </a:r>
              <a:endParaRPr lang="de-DE" sz="2400" kern="1200" dirty="0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1524000" y="4333273"/>
              <a:ext cx="788988" cy="1127125"/>
            </a:xfrm>
            <a:custGeom>
              <a:avLst/>
              <a:gdLst>
                <a:gd name="connsiteX0" fmla="*/ 0 w 1127124"/>
                <a:gd name="connsiteY0" fmla="*/ 0 h 788987"/>
                <a:gd name="connsiteX1" fmla="*/ 732631 w 1127124"/>
                <a:gd name="connsiteY1" fmla="*/ 0 h 788987"/>
                <a:gd name="connsiteX2" fmla="*/ 1127124 w 1127124"/>
                <a:gd name="connsiteY2" fmla="*/ 394494 h 788987"/>
                <a:gd name="connsiteX3" fmla="*/ 732631 w 1127124"/>
                <a:gd name="connsiteY3" fmla="*/ 788987 h 788987"/>
                <a:gd name="connsiteX4" fmla="*/ 0 w 1127124"/>
                <a:gd name="connsiteY4" fmla="*/ 788987 h 788987"/>
                <a:gd name="connsiteX5" fmla="*/ 394494 w 1127124"/>
                <a:gd name="connsiteY5" fmla="*/ 394494 h 788987"/>
                <a:gd name="connsiteX6" fmla="*/ 0 w 1127124"/>
                <a:gd name="connsiteY6" fmla="*/ 0 h 788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7124" h="788987">
                  <a:moveTo>
                    <a:pt x="1127123" y="0"/>
                  </a:moveTo>
                  <a:lnTo>
                    <a:pt x="1127123" y="512842"/>
                  </a:lnTo>
                  <a:lnTo>
                    <a:pt x="563561" y="788987"/>
                  </a:lnTo>
                  <a:lnTo>
                    <a:pt x="1" y="512842"/>
                  </a:lnTo>
                  <a:lnTo>
                    <a:pt x="1" y="0"/>
                  </a:lnTo>
                  <a:lnTo>
                    <a:pt x="563561" y="276146"/>
                  </a:lnTo>
                  <a:lnTo>
                    <a:pt x="1127123" y="0"/>
                  </a:ln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3971" tIns="408465" rIns="13970" bIns="408463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3</a:t>
              </a:r>
              <a:endParaRPr lang="de-DE" sz="2400" kern="1200" dirty="0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2312987" y="4333273"/>
              <a:ext cx="5307013" cy="732632"/>
            </a:xfrm>
            <a:custGeom>
              <a:avLst/>
              <a:gdLst>
                <a:gd name="connsiteX0" fmla="*/ 122108 w 732631"/>
                <a:gd name="connsiteY0" fmla="*/ 0 h 5307012"/>
                <a:gd name="connsiteX1" fmla="*/ 610523 w 732631"/>
                <a:gd name="connsiteY1" fmla="*/ 0 h 5307012"/>
                <a:gd name="connsiteX2" fmla="*/ 732631 w 732631"/>
                <a:gd name="connsiteY2" fmla="*/ 122108 h 5307012"/>
                <a:gd name="connsiteX3" fmla="*/ 732631 w 732631"/>
                <a:gd name="connsiteY3" fmla="*/ 5307012 h 5307012"/>
                <a:gd name="connsiteX4" fmla="*/ 732631 w 732631"/>
                <a:gd name="connsiteY4" fmla="*/ 5307012 h 5307012"/>
                <a:gd name="connsiteX5" fmla="*/ 0 w 732631"/>
                <a:gd name="connsiteY5" fmla="*/ 5307012 h 5307012"/>
                <a:gd name="connsiteX6" fmla="*/ 0 w 732631"/>
                <a:gd name="connsiteY6" fmla="*/ 5307012 h 5307012"/>
                <a:gd name="connsiteX7" fmla="*/ 0 w 732631"/>
                <a:gd name="connsiteY7" fmla="*/ 122108 h 5307012"/>
                <a:gd name="connsiteX8" fmla="*/ 122108 w 732631"/>
                <a:gd name="connsiteY8" fmla="*/ 0 h 5307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2631" h="5307012">
                  <a:moveTo>
                    <a:pt x="732631" y="884525"/>
                  </a:moveTo>
                  <a:lnTo>
                    <a:pt x="732631" y="4422487"/>
                  </a:lnTo>
                  <a:cubicBezTo>
                    <a:pt x="732631" y="4910992"/>
                    <a:pt x="725084" y="5307008"/>
                    <a:pt x="715774" y="5307008"/>
                  </a:cubicBezTo>
                  <a:lnTo>
                    <a:pt x="0" y="5307008"/>
                  </a:lnTo>
                  <a:lnTo>
                    <a:pt x="0" y="5307008"/>
                  </a:lnTo>
                  <a:lnTo>
                    <a:pt x="0" y="4"/>
                  </a:lnTo>
                  <a:lnTo>
                    <a:pt x="0" y="4"/>
                  </a:lnTo>
                  <a:lnTo>
                    <a:pt x="715774" y="4"/>
                  </a:lnTo>
                  <a:cubicBezTo>
                    <a:pt x="725084" y="4"/>
                    <a:pt x="732631" y="396020"/>
                    <a:pt x="732631" y="884525"/>
                  </a:cubicBez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4913" tIns="52274" rIns="52274" bIns="52275" numCol="1" spcCol="1270" anchor="ctr" anchorCtr="0">
              <a:noAutofit/>
            </a:bodyPr>
            <a:lstStyle/>
            <a:p>
              <a:pPr marL="0" lvl="1" defTabSz="11557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400" dirty="0"/>
                <a:t>Using a systematic process (i.e. applying level 2 techniques in a structured and recurring way at scale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57029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49" y="234030"/>
            <a:ext cx="8246409" cy="799117"/>
          </a:xfrm>
        </p:spPr>
        <p:txBody>
          <a:bodyPr>
            <a:noAutofit/>
          </a:bodyPr>
          <a:lstStyle/>
          <a:p>
            <a:r>
              <a:rPr lang="en-US" sz="3400" dirty="0"/>
              <a:t>Examples: Evolvability Assurance Tool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628650" y="1378225"/>
            <a:ext cx="2899858" cy="4764220"/>
          </a:xfrm>
        </p:spPr>
        <p:txBody>
          <a:bodyPr>
            <a:normAutofit/>
          </a:bodyPr>
          <a:lstStyle/>
          <a:p>
            <a:pPr algn="just"/>
            <a:r>
              <a:rPr lang="en-US" sz="2600" dirty="0" err="1"/>
              <a:t>SonarQube</a:t>
            </a:r>
            <a:endParaRPr lang="en-US" sz="2600" dirty="0"/>
          </a:p>
          <a:p>
            <a:pPr algn="just"/>
            <a:r>
              <a:rPr lang="en-US" sz="2600" dirty="0" err="1"/>
              <a:t>FindBugs</a:t>
            </a:r>
            <a:endParaRPr lang="en-US" sz="2600" dirty="0"/>
          </a:p>
          <a:p>
            <a:pPr algn="just"/>
            <a:r>
              <a:rPr lang="en-US" sz="2600" dirty="0" err="1"/>
              <a:t>Squale</a:t>
            </a:r>
            <a:endParaRPr lang="en-US" sz="2600" dirty="0"/>
          </a:p>
          <a:p>
            <a:pPr algn="just"/>
            <a:r>
              <a:rPr lang="en-US" sz="2600" dirty="0" err="1"/>
              <a:t>Lattix</a:t>
            </a:r>
            <a:endParaRPr lang="en-US" sz="2600" dirty="0"/>
          </a:p>
          <a:p>
            <a:pPr algn="just"/>
            <a:r>
              <a:rPr lang="en-US" sz="2600" dirty="0" err="1"/>
              <a:t>Ndepend</a:t>
            </a:r>
            <a:endParaRPr lang="en-US" sz="2600" dirty="0"/>
          </a:p>
          <a:p>
            <a:pPr algn="just"/>
            <a:r>
              <a:rPr lang="en-US" sz="2600" dirty="0"/>
              <a:t>CAST</a:t>
            </a:r>
          </a:p>
          <a:p>
            <a:pPr algn="just"/>
            <a:r>
              <a:rPr lang="en-US" sz="2600" dirty="0"/>
              <a:t>Structure101</a:t>
            </a:r>
          </a:p>
          <a:p>
            <a:pPr algn="just"/>
            <a:r>
              <a:rPr lang="en-US" sz="2600" dirty="0"/>
              <a:t>…</a:t>
            </a:r>
          </a:p>
          <a:p>
            <a:pPr marL="0" indent="0" algn="just">
              <a:buNone/>
            </a:pPr>
            <a:endParaRPr lang="en-US" sz="2600" dirty="0"/>
          </a:p>
        </p:txBody>
      </p:sp>
      <p:sp>
        <p:nvSpPr>
          <p:cNvPr id="6" name="Content Placeholder 10"/>
          <p:cNvSpPr txBox="1">
            <a:spLocks/>
          </p:cNvSpPr>
          <p:nvPr/>
        </p:nvSpPr>
        <p:spPr>
          <a:xfrm>
            <a:off x="5234717" y="1366844"/>
            <a:ext cx="2899858" cy="47642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fontAlgn="auto">
              <a:spcAft>
                <a:spcPts val="0"/>
              </a:spcAft>
              <a:buClrTx/>
              <a:buSzTx/>
            </a:pPr>
            <a:r>
              <a:rPr lang="en-US" sz="2600" dirty="0" err="1"/>
              <a:t>Teamscale</a:t>
            </a:r>
            <a:endParaRPr lang="en-US" sz="2600" dirty="0"/>
          </a:p>
          <a:p>
            <a:pPr algn="just" fontAlgn="auto">
              <a:spcAft>
                <a:spcPts val="0"/>
              </a:spcAft>
              <a:buClrTx/>
              <a:buSzTx/>
            </a:pPr>
            <a:r>
              <a:rPr lang="en-US" sz="2600" dirty="0" err="1"/>
              <a:t>Checkstyle</a:t>
            </a:r>
            <a:endParaRPr lang="en-US" sz="2600" dirty="0"/>
          </a:p>
          <a:p>
            <a:pPr algn="just" fontAlgn="auto">
              <a:spcAft>
                <a:spcPts val="0"/>
              </a:spcAft>
              <a:buClrTx/>
              <a:buSzTx/>
            </a:pPr>
            <a:r>
              <a:rPr lang="en-US" sz="2600" dirty="0"/>
              <a:t>PMD</a:t>
            </a:r>
          </a:p>
          <a:p>
            <a:pPr algn="just" fontAlgn="auto">
              <a:spcAft>
                <a:spcPts val="0"/>
              </a:spcAft>
              <a:buClrTx/>
              <a:buSzTx/>
            </a:pPr>
            <a:r>
              <a:rPr lang="en-US" sz="2600" dirty="0" err="1"/>
              <a:t>JMetrics</a:t>
            </a:r>
            <a:r>
              <a:rPr lang="en-US" sz="2600" dirty="0"/>
              <a:t> </a:t>
            </a:r>
          </a:p>
          <a:p>
            <a:pPr algn="just" fontAlgn="auto">
              <a:spcAft>
                <a:spcPts val="0"/>
              </a:spcAft>
              <a:buClrTx/>
              <a:buSzTx/>
            </a:pPr>
            <a:r>
              <a:rPr lang="en-US" sz="2600" dirty="0" err="1"/>
              <a:t>Codecov</a:t>
            </a:r>
            <a:endParaRPr lang="en-US" sz="2600" dirty="0"/>
          </a:p>
          <a:p>
            <a:pPr algn="just" fontAlgn="auto">
              <a:spcAft>
                <a:spcPts val="0"/>
              </a:spcAft>
              <a:buClrTx/>
              <a:buSzTx/>
            </a:pPr>
            <a:r>
              <a:rPr lang="en-US" sz="2600" dirty="0" err="1"/>
              <a:t>Cobertura</a:t>
            </a:r>
            <a:endParaRPr lang="en-US" sz="2600" dirty="0"/>
          </a:p>
          <a:p>
            <a:pPr algn="just" fontAlgn="auto">
              <a:spcAft>
                <a:spcPts val="0"/>
              </a:spcAft>
              <a:buClrTx/>
              <a:buSzTx/>
            </a:pPr>
            <a:r>
              <a:rPr lang="en-US" sz="2600" dirty="0" err="1"/>
              <a:t>Codacy</a:t>
            </a:r>
            <a:endParaRPr lang="en-US" sz="2600" dirty="0"/>
          </a:p>
          <a:p>
            <a:pPr algn="just" fontAlgn="auto">
              <a:spcAft>
                <a:spcPts val="0"/>
              </a:spcAft>
              <a:buClrTx/>
              <a:buSzTx/>
            </a:pPr>
            <a:r>
              <a:rPr lang="en-US" sz="2600" dirty="0"/>
              <a:t>…</a:t>
            </a:r>
          </a:p>
          <a:p>
            <a:pPr algn="just" fontAlgn="auto">
              <a:spcAft>
                <a:spcPts val="0"/>
              </a:spcAft>
              <a:buClrTx/>
              <a:buSzTx/>
            </a:pP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2668040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49" y="234030"/>
            <a:ext cx="8246409" cy="799117"/>
          </a:xfrm>
        </p:spPr>
        <p:txBody>
          <a:bodyPr>
            <a:noAutofit/>
          </a:bodyPr>
          <a:lstStyle/>
          <a:p>
            <a:r>
              <a:rPr lang="en-US" sz="3400" dirty="0"/>
              <a:t>Examples: Evolvability Metric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628650" y="1292161"/>
            <a:ext cx="5955030" cy="4764220"/>
          </a:xfrm>
        </p:spPr>
        <p:txBody>
          <a:bodyPr>
            <a:normAutofit lnSpcReduction="10000"/>
          </a:bodyPr>
          <a:lstStyle/>
          <a:p>
            <a:pPr algn="just"/>
            <a:r>
              <a:rPr lang="en-US" sz="2600" dirty="0"/>
              <a:t>Test coverage</a:t>
            </a:r>
          </a:p>
          <a:p>
            <a:pPr algn="just"/>
            <a:r>
              <a:rPr lang="en-US" sz="2600" dirty="0"/>
              <a:t>Cyclomatic complexity</a:t>
            </a:r>
          </a:p>
          <a:p>
            <a:pPr algn="just"/>
            <a:r>
              <a:rPr lang="en-US" sz="2600" dirty="0"/>
              <a:t>Clone coverage</a:t>
            </a:r>
          </a:p>
          <a:p>
            <a:pPr algn="just"/>
            <a:r>
              <a:rPr lang="en-US" sz="2600" dirty="0"/>
              <a:t>LoC</a:t>
            </a:r>
          </a:p>
          <a:p>
            <a:pPr algn="just"/>
            <a:r>
              <a:rPr lang="en-US" sz="2600" dirty="0"/>
              <a:t>Comment ratio</a:t>
            </a:r>
          </a:p>
          <a:p>
            <a:pPr algn="just"/>
            <a:r>
              <a:rPr lang="en-US" sz="2600" dirty="0"/>
              <a:t>Coupling metrics</a:t>
            </a:r>
          </a:p>
          <a:p>
            <a:pPr algn="just"/>
            <a:r>
              <a:rPr lang="en-US" sz="2600" dirty="0"/>
              <a:t># of architectural violations</a:t>
            </a:r>
          </a:p>
          <a:p>
            <a:pPr algn="just"/>
            <a:r>
              <a:rPr lang="en-US" sz="2600" dirty="0"/>
              <a:t>Cohesion metrics</a:t>
            </a:r>
          </a:p>
          <a:p>
            <a:pPr algn="just"/>
            <a:r>
              <a:rPr lang="en-US" sz="2600" dirty="0"/>
              <a:t># of naming convention violations</a:t>
            </a:r>
          </a:p>
          <a:p>
            <a:pPr algn="just"/>
            <a:r>
              <a:rPr lang="en-US" sz="2600" dirty="0"/>
              <a:t>Defect resolution time</a:t>
            </a:r>
          </a:p>
          <a:p>
            <a:pPr algn="just"/>
            <a:r>
              <a:rPr lang="en-US" sz="2600" dirty="0"/>
              <a:t>…</a:t>
            </a:r>
          </a:p>
          <a:p>
            <a:pPr marL="0" indent="0" algn="just">
              <a:buNone/>
            </a:pP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4611299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</TotalTime>
  <Words>664</Words>
  <Application>Microsoft Office PowerPoint</Application>
  <PresentationFormat>On-screen Show (4:3)</PresentationFormat>
  <Paragraphs>107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Office Theme</vt:lpstr>
      <vt:lpstr>think-cell Folie</vt:lpstr>
      <vt:lpstr>PowerPoint Presentation</vt:lpstr>
      <vt:lpstr>ISO 25010 Software Product Quality</vt:lpstr>
      <vt:lpstr>Definition: Maintainability</vt:lpstr>
      <vt:lpstr>Definition: Evolvability</vt:lpstr>
      <vt:lpstr>Examples: Symptoms of Technical Debt</vt:lpstr>
      <vt:lpstr>Definition: Evolvability Assurance (EA) </vt:lpstr>
      <vt:lpstr>Assurance Maturity Levels</vt:lpstr>
      <vt:lpstr>Examples: Evolvability Assurance Tools</vt:lpstr>
      <vt:lpstr>Examples: Evolvability Metric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Bogner, Justus (DXC Cloud &amp; Automation)</cp:lastModifiedBy>
  <cp:revision>351</cp:revision>
  <cp:lastPrinted>2019-01-07T10:01:47Z</cp:lastPrinted>
  <dcterms:created xsi:type="dcterms:W3CDTF">2011-07-07T11:12:14Z</dcterms:created>
  <dcterms:modified xsi:type="dcterms:W3CDTF">2019-01-07T10:3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